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379152" r:id="rId2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124A"/>
    <a:srgbClr val="ACA8C4"/>
    <a:srgbClr val="084F91"/>
    <a:srgbClr val="F03D6F"/>
    <a:srgbClr val="333333"/>
    <a:srgbClr val="B4D4CF"/>
    <a:srgbClr val="FBCCD9"/>
    <a:srgbClr val="FDEBF0"/>
    <a:srgbClr val="B02121"/>
    <a:srgbClr val="3497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95" autoAdjust="0"/>
    <p:restoredTop sz="94660"/>
  </p:normalViewPr>
  <p:slideViewPr>
    <p:cSldViewPr snapToGrid="0" showGuides="1">
      <p:cViewPr varScale="1">
        <p:scale>
          <a:sx n="82" d="100"/>
          <a:sy n="82" d="100"/>
        </p:scale>
        <p:origin x="931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236243483423734E-2"/>
          <c:y val="3.8242700625369191E-2"/>
          <c:w val="0.91742214413038292"/>
          <c:h val="0.6532974817461531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ликлиники</c:v>
                </c:pt>
              </c:strCache>
            </c:strRef>
          </c:tx>
          <c:spPr>
            <a:ln w="28575" cap="rnd">
              <a:solidFill>
                <a:schemeClr val="bg2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bg2"/>
              </a:solidFill>
              <a:ln w="22225">
                <a:noFill/>
              </a:ln>
              <a:effectLst/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84F9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3004.25</c:v>
                </c:pt>
                <c:pt idx="1">
                  <c:v>13091.5</c:v>
                </c:pt>
                <c:pt idx="2">
                  <c:v>127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C55-4609-9B29-DEDA2226D48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етские поликлиники</c:v>
                </c:pt>
              </c:strCache>
            </c:strRef>
          </c:tx>
          <c:spPr>
            <a:ln w="28575" cap="rnd">
              <a:solidFill>
                <a:srgbClr val="B02121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B02121"/>
              </a:solidFill>
              <a:ln w="9525">
                <a:noFill/>
              </a:ln>
              <a:effectLst/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C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268.5</c:v>
                </c:pt>
                <c:pt idx="1">
                  <c:v>2311.25</c:v>
                </c:pt>
                <c:pt idx="2">
                  <c:v>2166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C55-4609-9B29-DEDA2226D488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178176751"/>
        <c:axId val="1186412783"/>
      </c:lineChart>
      <c:catAx>
        <c:axId val="11781767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ru-RU"/>
          </a:p>
        </c:txPr>
        <c:crossAx val="1186412783"/>
        <c:crosses val="autoZero"/>
        <c:auto val="1"/>
        <c:lblAlgn val="ctr"/>
        <c:lblOffset val="100"/>
        <c:noMultiLvlLbl val="0"/>
      </c:catAx>
      <c:valAx>
        <c:axId val="1186412783"/>
        <c:scaling>
          <c:orientation val="minMax"/>
          <c:max val="16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78176751"/>
        <c:crosses val="autoZero"/>
        <c:crossBetween val="between"/>
        <c:majorUnit val="1000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720C4B-DA76-46FC-8657-811DA01C616D}" type="datetimeFigureOut">
              <a:rPr lang="ru-RU" smtClean="0"/>
              <a:t>04.08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202C6A-BD3E-41B8-A8E7-C80DF15423F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05337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+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50976">
              <a:defRPr/>
            </a:pPr>
            <a:fld id="{92B6347B-C680-4D11-B98F-1B3A6E1FB2E8}" type="slidenum">
              <a:rPr lang="ru-RU">
                <a:solidFill>
                  <a:prstClr val="black"/>
                </a:solidFill>
                <a:latin typeface="Calibri" panose="020F0502020204030204"/>
              </a:rPr>
              <a:pPr defTabSz="950976">
                <a:defRPr/>
              </a:pPr>
              <a:t>1</a:t>
            </a:fld>
            <a:endParaRPr lang="ru-RU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8551012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2" imgH="353" progId="TCLayout.ActiveDocument.1">
                  <p:embed/>
                </p:oleObj>
              </mc:Choice>
              <mc:Fallback>
                <p:oleObj name="Слайд think-cell" r:id="rId4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solidFill>
                <a:srgbClr val="FFFFFF"/>
              </a:solidFill>
              <a:latin typeface="Roboto Medium" panose="02000000000000000000" pitchFamily="2" charset="0"/>
              <a:ea typeface="Roboto Light" panose="02000000000000000000" pitchFamily="2" charset="0"/>
              <a:sym typeface="Roboto Medium" panose="02000000000000000000" pitchFamily="2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353" y="243523"/>
            <a:ext cx="739672" cy="739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58235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fld id="{9D9496DA-DC22-4CBE-AA2B-BDAD636BF36F}" type="datetimeFigureOut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04.08.2025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fld id="{FB8BE1A2-F74F-4640-B9DB-CB536D80EB39}" type="slidenum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835321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2" imgH="353" progId="TCLayout.ActiveDocument.1">
                  <p:embed/>
                </p:oleObj>
              </mc:Choice>
              <mc:Fallback>
                <p:oleObj name="Слайд think-cell" r:id="rId3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Прямая соединительная линия 8"/>
          <p:cNvCxnSpPr/>
          <p:nvPr/>
        </p:nvCxnSpPr>
        <p:spPr>
          <a:xfrm>
            <a:off x="11489254" y="291578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7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mtClean="0">
                <a:solidFill>
                  <a:srgbClr val="084F91"/>
                </a:solidFill>
                <a:latin typeface="Roboto Medium"/>
                <a:ea typeface="Roboto Thin" panose="02000000000000000000" pitchFamily="2" charset="0"/>
                <a:sym typeface="Roboto Thin" panose="02000000000000000000" pitchFamily="2" charset="0"/>
              </a:rPr>
              <a:pPr/>
              <a:t>‹#›</a:t>
            </a:fld>
            <a:endParaRPr lang="ru-RU" dirty="0">
              <a:solidFill>
                <a:srgbClr val="084F91"/>
              </a:solidFill>
              <a:latin typeface="Roboto Medium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7" y="291578"/>
            <a:ext cx="1048018" cy="788650"/>
          </a:xfrm>
          <a:prstGeom prst="rect">
            <a:avLst/>
          </a:prstGeom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476374" y="291579"/>
            <a:ext cx="9877426" cy="726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ru-RU" sz="2400" kern="1200">
                <a:solidFill>
                  <a:schemeClr val="bg2"/>
                </a:solidFill>
                <a:latin typeface="+mj-lt"/>
                <a:ea typeface="Roboto Thin" panose="02000000000000000000" pitchFamily="2" charset="0"/>
                <a:cs typeface="SF UI Display" panose="00000800000000000000" pitchFamily="50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6715989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 userDrawn="1"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Номер слайда 3"/>
          <p:cNvSpPr txBox="1">
            <a:spLocks/>
          </p:cNvSpPr>
          <p:nvPr userDrawn="1"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9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511739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9730F68-9224-40B8-8358-C74711B8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813" y="402419"/>
            <a:ext cx="2743200" cy="36512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274DF1-373A-4D6A-B0A4-A61611F74593}" type="slidenum">
              <a:rPr kumimoji="0" lang="ru-RU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  <a:sym typeface="Roboto Light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Medium" panose="02000000000000000000" pitchFamily="2" charset="0"/>
              <a:ea typeface="Roboto Medium" panose="02000000000000000000" pitchFamily="2" charset="0"/>
              <a:cs typeface="+mn-cs"/>
              <a:sym typeface="Roboto Light" panose="02000000000000000000" pitchFamily="2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6C6F478-0AED-44B5-861B-E81C1CEFBC6B}"/>
              </a:ext>
            </a:extLst>
          </p:cNvPr>
          <p:cNvSpPr/>
          <p:nvPr userDrawn="1"/>
        </p:nvSpPr>
        <p:spPr>
          <a:xfrm>
            <a:off x="2075013" y="0"/>
            <a:ext cx="36000" cy="804838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2231843" y="231177"/>
            <a:ext cx="8886826" cy="662782"/>
          </a:xfrm>
        </p:spPr>
        <p:txBody>
          <a:bodyPr lIns="0" tIns="0" rIns="0" bIns="0" anchor="t">
            <a:normAutofit/>
          </a:bodyPr>
          <a:lstStyle>
            <a:lvl1pPr>
              <a:defRPr sz="2400">
                <a:solidFill>
                  <a:srgbClr val="084F9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A259158-C00C-4008-B206-0E2AE17ED3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125" y="129580"/>
            <a:ext cx="1777463" cy="545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075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504">
          <p15:clr>
            <a:srgbClr val="FBAE40"/>
          </p15:clr>
        </p15:guide>
        <p15:guide id="3" pos="3840">
          <p15:clr>
            <a:srgbClr val="FBAE40"/>
          </p15:clr>
        </p15:guide>
        <p15:guide id="4" pos="7423">
          <p15:clr>
            <a:srgbClr val="FBAE40"/>
          </p15:clr>
        </p15:guide>
        <p15:guide id="5" pos="27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3F7D8B5-1751-4EE2-9052-C2180A634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61910" y="6230391"/>
            <a:ext cx="631873" cy="511175"/>
          </a:xfrm>
          <a:prstGeom prst="rect">
            <a:avLst/>
          </a:prstGeom>
        </p:spPr>
        <p:txBody>
          <a:bodyPr/>
          <a:lstStyle>
            <a:lvl1pPr algn="ctr">
              <a:defRPr sz="1680">
                <a:solidFill>
                  <a:srgbClr val="B02020"/>
                </a:solidFill>
                <a:latin typeface="Montserrat regular" pitchFamily="2" charset="-52"/>
              </a:defRPr>
            </a:lvl1pPr>
          </a:lstStyle>
          <a:p>
            <a:fld id="{8DB86FC8-E4E6-4A7F-967E-5AA6B53A30DB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F7C005C4-9E86-4F03-8305-490015712A01}"/>
              </a:ext>
            </a:extLst>
          </p:cNvPr>
          <p:cNvCxnSpPr>
            <a:cxnSpLocks/>
          </p:cNvCxnSpPr>
          <p:nvPr userDrawn="1"/>
        </p:nvCxnSpPr>
        <p:spPr>
          <a:xfrm>
            <a:off x="1919368" y="6484357"/>
            <a:ext cx="9472532" cy="0"/>
          </a:xfrm>
          <a:prstGeom prst="line">
            <a:avLst/>
          </a:prstGeom>
          <a:ln w="12700">
            <a:solidFill>
              <a:srgbClr val="B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B2BF578-FDD3-4ED8-B05B-F227C54379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125" y="6278016"/>
            <a:ext cx="1378455" cy="42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528171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6" imgW="352" imgH="353" progId="TCLayout.ActiveDocument.1">
                  <p:embed/>
                </p:oleObj>
              </mc:Choice>
              <mc:Fallback>
                <p:oleObj name="Слайд think-cell" r:id="rId16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7C582B14-700C-49D4-8D3A-D6EBFC926582}" type="datetime1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04.08.2025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9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10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2" name="Прямоугольник 11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14" name="Прямоугольник 13" hidden="1"/>
          <p:cNvSpPr/>
          <p:nvPr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4869EB34-683B-4CFC-BE4F-FDD95EB0A0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8" imgW="360" imgH="360" progId="TCLayout.ActiveDocument.1">
                  <p:embed/>
                </p:oleObj>
              </mc:Choice>
              <mc:Fallback>
                <p:oleObj name="Слайд think-cell" r:id="rId18" imgW="360" imgH="360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4869EB34-683B-4CFC-BE4F-FDD95EB0A0A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 hidden="1">
            <a:extLst>
              <a:ext uri="{FF2B5EF4-FFF2-40B4-BE49-F238E27FC236}">
                <a16:creationId xmlns:a16="http://schemas.microsoft.com/office/drawing/2014/main" id="{2700E5A1-5959-4167-9A85-FB67356E8B80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3475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  <p:sldLayoutId id="2147483667" r:id="rId5"/>
    <p:sldLayoutId id="2147483668" r:id="rId6"/>
  </p:sldLayoutIdLst>
  <p:hf hdr="0" ft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C9347F1D-F75B-41B1-BE52-F181FA007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6374" y="291579"/>
            <a:ext cx="9877426" cy="162500"/>
          </a:xfrm>
        </p:spPr>
        <p:txBody>
          <a:bodyPr vert="horz" lIns="0" tIns="0" rIns="0" bIns="0" rtlCol="0" anchor="t">
            <a:noAutofit/>
          </a:bodyPr>
          <a:lstStyle/>
          <a:p>
            <a:pPr lvl="0">
              <a:defRPr/>
            </a:pPr>
            <a:r>
              <a:rPr lang="ru-RU" sz="1400" b="1" cap="all" dirty="0">
                <a:solidFill>
                  <a:srgbClr val="333333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инамика Числа занятых должностей (врачи) в регионе </a:t>
            </a:r>
            <a:r>
              <a:rPr lang="en-US" sz="1400" b="1" cap="all" dirty="0" err="1">
                <a:solidFill>
                  <a:srgbClr val="333333"/>
                </a:solidFill>
                <a:highlight>
                  <a:srgbClr val="C0C0C0"/>
                </a:highlight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67</a:t>
            </a:r>
            <a:endParaRPr lang="ru-RU" sz="1050" cap="all" dirty="0">
              <a:solidFill>
                <a:srgbClr val="333333"/>
              </a:solidFill>
              <a:highlight>
                <a:srgbClr val="C0C0C0"/>
              </a:highlight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24312FAA-7076-45FA-9E97-E9C741A5942E}"/>
              </a:ext>
            </a:extLst>
          </p:cNvPr>
          <p:cNvSpPr/>
          <p:nvPr/>
        </p:nvSpPr>
        <p:spPr>
          <a:xfrm>
            <a:off x="7594006" y="1092379"/>
            <a:ext cx="3733203" cy="814293"/>
          </a:xfrm>
          <a:prstGeom prst="roundRect">
            <a:avLst/>
          </a:prstGeom>
          <a:solidFill>
            <a:srgbClr val="B02121">
              <a:alpha val="5000"/>
            </a:srgbClr>
          </a:solidFill>
          <a:ln>
            <a:solidFill>
              <a:srgbClr val="B02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84516E5F-59F8-42EF-AA9B-AEF61A75F408}"/>
              </a:ext>
            </a:extLst>
          </p:cNvPr>
          <p:cNvSpPr/>
          <p:nvPr/>
        </p:nvSpPr>
        <p:spPr>
          <a:xfrm>
            <a:off x="7594006" y="2129127"/>
            <a:ext cx="3733203" cy="814293"/>
          </a:xfrm>
          <a:prstGeom prst="roundRect">
            <a:avLst/>
          </a:prstGeom>
          <a:solidFill>
            <a:schemeClr val="bg2">
              <a:alpha val="1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Рисунок 38" descr="Шевроны со сплошной заливкой">
            <a:extLst>
              <a:ext uri="{FF2B5EF4-FFF2-40B4-BE49-F238E27FC236}">
                <a16:creationId xmlns:a16="http://schemas.microsoft.com/office/drawing/2014/main" id="{F7E4BF94-047E-499F-89CD-263CDB240AB1}"/>
              </a:ext>
            </a:extLst>
          </p:cNvPr>
          <p:cNvSpPr/>
          <p:nvPr/>
        </p:nvSpPr>
        <p:spPr>
          <a:xfrm>
            <a:off x="9513199" y="2473795"/>
            <a:ext cx="159543" cy="205144"/>
          </a:xfrm>
          <a:custGeom>
            <a:avLst/>
            <a:gdLst>
              <a:gd name="connsiteX0" fmla="*/ 119063 w 319087"/>
              <a:gd name="connsiteY0" fmla="*/ 0 h 533400"/>
              <a:gd name="connsiteX1" fmla="*/ 0 w 319087"/>
              <a:gd name="connsiteY1" fmla="*/ 0 h 533400"/>
              <a:gd name="connsiteX2" fmla="*/ 200025 w 319087"/>
              <a:gd name="connsiteY2" fmla="*/ 266700 h 533400"/>
              <a:gd name="connsiteX3" fmla="*/ 0 w 319087"/>
              <a:gd name="connsiteY3" fmla="*/ 533400 h 533400"/>
              <a:gd name="connsiteX4" fmla="*/ 119063 w 319087"/>
              <a:gd name="connsiteY4" fmla="*/ 533400 h 533400"/>
              <a:gd name="connsiteX5" fmla="*/ 319088 w 319087"/>
              <a:gd name="connsiteY5" fmla="*/ 266700 h 533400"/>
              <a:gd name="connsiteX6" fmla="*/ 119063 w 319087"/>
              <a:gd name="connsiteY6" fmla="*/ 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9087" h="533400">
                <a:moveTo>
                  <a:pt x="119063" y="0"/>
                </a:moveTo>
                <a:lnTo>
                  <a:pt x="0" y="0"/>
                </a:lnTo>
                <a:lnTo>
                  <a:pt x="200025" y="266700"/>
                </a:lnTo>
                <a:lnTo>
                  <a:pt x="0" y="533400"/>
                </a:lnTo>
                <a:lnTo>
                  <a:pt x="119063" y="533400"/>
                </a:lnTo>
                <a:lnTo>
                  <a:pt x="319088" y="266700"/>
                </a:lnTo>
                <a:lnTo>
                  <a:pt x="119063" y="0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61CA188-1902-4F8A-8EC8-3FADB14D66CD}"/>
              </a:ext>
            </a:extLst>
          </p:cNvPr>
          <p:cNvSpPr txBox="1"/>
          <p:nvPr/>
        </p:nvSpPr>
        <p:spPr>
          <a:xfrm>
            <a:off x="7769916" y="1174942"/>
            <a:ext cx="16407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Детские поликлиники</a:t>
            </a:r>
          </a:p>
        </p:txBody>
      </p:sp>
      <p:sp>
        <p:nvSpPr>
          <p:cNvPr id="10" name="Рисунок 38" descr="Шевроны со сплошной заливкой">
            <a:extLst>
              <a:ext uri="{FF2B5EF4-FFF2-40B4-BE49-F238E27FC236}">
                <a16:creationId xmlns:a16="http://schemas.microsoft.com/office/drawing/2014/main" id="{B8F944DA-D2E2-48D5-B226-A9A2833AD528}"/>
              </a:ext>
            </a:extLst>
          </p:cNvPr>
          <p:cNvSpPr/>
          <p:nvPr/>
        </p:nvSpPr>
        <p:spPr>
          <a:xfrm>
            <a:off x="9498765" y="1398486"/>
            <a:ext cx="159543" cy="205144"/>
          </a:xfrm>
          <a:custGeom>
            <a:avLst/>
            <a:gdLst>
              <a:gd name="connsiteX0" fmla="*/ 119063 w 319087"/>
              <a:gd name="connsiteY0" fmla="*/ 0 h 533400"/>
              <a:gd name="connsiteX1" fmla="*/ 0 w 319087"/>
              <a:gd name="connsiteY1" fmla="*/ 0 h 533400"/>
              <a:gd name="connsiteX2" fmla="*/ 200025 w 319087"/>
              <a:gd name="connsiteY2" fmla="*/ 266700 h 533400"/>
              <a:gd name="connsiteX3" fmla="*/ 0 w 319087"/>
              <a:gd name="connsiteY3" fmla="*/ 533400 h 533400"/>
              <a:gd name="connsiteX4" fmla="*/ 119063 w 319087"/>
              <a:gd name="connsiteY4" fmla="*/ 533400 h 533400"/>
              <a:gd name="connsiteX5" fmla="*/ 319088 w 319087"/>
              <a:gd name="connsiteY5" fmla="*/ 266700 h 533400"/>
              <a:gd name="connsiteX6" fmla="*/ 119063 w 319087"/>
              <a:gd name="connsiteY6" fmla="*/ 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9087" h="533400">
                <a:moveTo>
                  <a:pt x="119063" y="0"/>
                </a:moveTo>
                <a:lnTo>
                  <a:pt x="0" y="0"/>
                </a:lnTo>
                <a:lnTo>
                  <a:pt x="200025" y="266700"/>
                </a:lnTo>
                <a:lnTo>
                  <a:pt x="0" y="533400"/>
                </a:lnTo>
                <a:lnTo>
                  <a:pt x="119063" y="533400"/>
                </a:lnTo>
                <a:lnTo>
                  <a:pt x="319088" y="266700"/>
                </a:lnTo>
                <a:lnTo>
                  <a:pt x="119063" y="0"/>
                </a:lnTo>
                <a:close/>
              </a:path>
            </a:pathLst>
          </a:custGeom>
          <a:solidFill>
            <a:srgbClr val="B0212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>
              <a:solidFill>
                <a:srgbClr val="ED7D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427F82-EFFD-48D9-A2B6-64209DB62E1F}"/>
              </a:ext>
            </a:extLst>
          </p:cNvPr>
          <p:cNvSpPr txBox="1"/>
          <p:nvPr/>
        </p:nvSpPr>
        <p:spPr>
          <a:xfrm>
            <a:off x="9543058" y="2290494"/>
            <a:ext cx="18608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Montserrat"/>
              </a:defRPr>
            </a:lvl1pPr>
          </a:lstStyle>
          <a:p>
            <a:pPr algn="ctr"/>
            <a:r>
              <a:rPr lang="en-US" sz="2800" dirty="0">
                <a:solidFill>
                  <a:schemeClr val="bg2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DE63521-3959-4D6F-8F38-D907F08E3EF6}"/>
              </a:ext>
            </a:extLst>
          </p:cNvPr>
          <p:cNvSpPr txBox="1"/>
          <p:nvPr/>
        </p:nvSpPr>
        <p:spPr>
          <a:xfrm>
            <a:off x="9630970" y="1232037"/>
            <a:ext cx="16407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Montserrat"/>
              </a:defRPr>
            </a:lvl1pPr>
          </a:lstStyle>
          <a:p>
            <a:pPr algn="ctr"/>
            <a:r>
              <a:rPr lang="en-US" sz="2800" dirty="0">
                <a:solidFill>
                  <a:srgbClr val="B02121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F88762-26B2-4F11-B197-6BAC71CA6F84}"/>
              </a:ext>
            </a:extLst>
          </p:cNvPr>
          <p:cNvSpPr txBox="1"/>
          <p:nvPr/>
        </p:nvSpPr>
        <p:spPr>
          <a:xfrm>
            <a:off x="7777589" y="2367438"/>
            <a:ext cx="16407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Поликлиники</a:t>
            </a:r>
          </a:p>
        </p:txBody>
      </p:sp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id="{557177D1-3A2D-421E-991E-DFE5137275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1975553"/>
              </p:ext>
            </p:extLst>
          </p:nvPr>
        </p:nvGraphicFramePr>
        <p:xfrm>
          <a:off x="1019508" y="4770915"/>
          <a:ext cx="11018602" cy="15113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68838">
                  <a:extLst>
                    <a:ext uri="{9D8B030D-6E8A-4147-A177-3AD203B41FA5}">
                      <a16:colId xmlns:a16="http://schemas.microsoft.com/office/drawing/2014/main" val="2136103591"/>
                    </a:ext>
                  </a:extLst>
                </a:gridCol>
                <a:gridCol w="969268">
                  <a:extLst>
                    <a:ext uri="{9D8B030D-6E8A-4147-A177-3AD203B41FA5}">
                      <a16:colId xmlns:a16="http://schemas.microsoft.com/office/drawing/2014/main" val="1320333608"/>
                    </a:ext>
                  </a:extLst>
                </a:gridCol>
                <a:gridCol w="1100182">
                  <a:extLst>
                    <a:ext uri="{9D8B030D-6E8A-4147-A177-3AD203B41FA5}">
                      <a16:colId xmlns:a16="http://schemas.microsoft.com/office/drawing/2014/main" val="2285655359"/>
                    </a:ext>
                  </a:extLst>
                </a:gridCol>
                <a:gridCol w="1082351">
                  <a:extLst>
                    <a:ext uri="{9D8B030D-6E8A-4147-A177-3AD203B41FA5}">
                      <a16:colId xmlns:a16="http://schemas.microsoft.com/office/drawing/2014/main" val="978395404"/>
                    </a:ext>
                  </a:extLst>
                </a:gridCol>
                <a:gridCol w="1166326">
                  <a:extLst>
                    <a:ext uri="{9D8B030D-6E8A-4147-A177-3AD203B41FA5}">
                      <a16:colId xmlns:a16="http://schemas.microsoft.com/office/drawing/2014/main" val="491691263"/>
                    </a:ext>
                  </a:extLst>
                </a:gridCol>
                <a:gridCol w="1187323">
                  <a:extLst>
                    <a:ext uri="{9D8B030D-6E8A-4147-A177-3AD203B41FA5}">
                      <a16:colId xmlns:a16="http://schemas.microsoft.com/office/drawing/2014/main" val="4217988657"/>
                    </a:ext>
                  </a:extLst>
                </a:gridCol>
                <a:gridCol w="1044314">
                  <a:extLst>
                    <a:ext uri="{9D8B030D-6E8A-4147-A177-3AD203B41FA5}">
                      <a16:colId xmlns:a16="http://schemas.microsoft.com/office/drawing/2014/main" val="23919296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ru-RU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Число всех организаций в субъекте, </a:t>
                      </a:r>
                      <a:r>
                        <a:rPr lang="ru-RU" sz="1600" b="1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ед</a:t>
                      </a:r>
                      <a:endParaRPr lang="ru-RU" sz="16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dirty="0">
                          <a:highlight>
                            <a:srgbClr val="FFFF00"/>
                          </a:highlight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50" b="1" dirty="0">
                        <a:highlight>
                          <a:srgbClr val="ACA8C4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dirty="0">
                          <a:highlight>
                            <a:srgbClr val="FFFF00"/>
                          </a:highlight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solidFill>
                          <a:srgbClr val="00B05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2148132"/>
                  </a:ext>
                </a:extLst>
              </a:tr>
              <a:tr h="566622"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Число должностей врачей, </a:t>
                      </a:r>
                      <a:r>
                        <a:rPr lang="ru-RU" sz="1600" b="1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ед</a:t>
                      </a:r>
                      <a:r>
                        <a:rPr lang="ru-RU" sz="16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занятых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t>14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b="1" dirty="0">
                          <a:solidFill>
                            <a:schemeClr val="tx2">
                              <a:lumMod val="75000"/>
                            </a:schemeClr>
                          </a:solidFill>
                          <a:highlight>
                            <a:srgbClr val="ACA8C4"/>
                          </a:highlight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      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t>10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solidFill>
                          <a:srgbClr val="C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562579"/>
                  </a:ext>
                </a:extLst>
              </a:tr>
              <a:tr h="566622">
                <a:tc>
                  <a:txBody>
                    <a:bodyPr/>
                    <a:lstStyle/>
                    <a:p>
                      <a:r>
                        <a:rPr lang="ru-RU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Число должностей среднего медперсонала, </a:t>
                      </a:r>
                      <a:r>
                        <a:rPr lang="ru-RU" sz="1600" b="1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ед</a:t>
                      </a:r>
                      <a:r>
                        <a:rPr lang="ru-RU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занятых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t>28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50" b="1" dirty="0">
                        <a:highlight>
                          <a:srgbClr val="ACA8C4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t>20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solidFill>
                          <a:srgbClr val="C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1218159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D75172DF-9D2E-4B2E-AB1E-FB9C3C4EFA0D}"/>
              </a:ext>
            </a:extLst>
          </p:cNvPr>
          <p:cNvSpPr txBox="1"/>
          <p:nvPr/>
        </p:nvSpPr>
        <p:spPr>
          <a:xfrm>
            <a:off x="1241534" y="3329728"/>
            <a:ext cx="101623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нговые места региона </a:t>
            </a:r>
            <a:r>
              <a:rPr lang="en-US" b="1" dirty="0" err="1">
                <a:solidFill>
                  <a:schemeClr val="bg2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67</a:t>
            </a:r>
            <a:r>
              <a:rPr lang="en-US" b="1" dirty="0">
                <a:solidFill>
                  <a:schemeClr val="bg2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 уровню основных показателей </a:t>
            </a:r>
          </a:p>
          <a:p>
            <a:pPr lvl="0" algn="ctr">
              <a:defRPr/>
            </a:pP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сумма амбулаторий, поликлиник и детских поликлиник) в </a:t>
            </a:r>
            <a:r>
              <a:rPr lang="en-US" b="1" dirty="0" err="1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4</a:t>
            </a: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и </a:t>
            </a:r>
            <a:r>
              <a:rPr lang="en-US" b="1" dirty="0" err="1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5</a:t>
            </a: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годах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F8F6383-6C00-44FD-BED2-649AE3964CA5}"/>
              </a:ext>
            </a:extLst>
          </p:cNvPr>
          <p:cNvSpPr txBox="1"/>
          <p:nvPr/>
        </p:nvSpPr>
        <p:spPr>
          <a:xfrm>
            <a:off x="5437414" y="4193662"/>
            <a:ext cx="17078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2024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год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9E54BA6-31BC-4456-B72C-62FC724B0C7D}"/>
              </a:ext>
            </a:extLst>
          </p:cNvPr>
          <p:cNvSpPr txBox="1"/>
          <p:nvPr/>
        </p:nvSpPr>
        <p:spPr>
          <a:xfrm>
            <a:off x="9124833" y="4233375"/>
            <a:ext cx="21017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2025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год</a:t>
            </a:r>
          </a:p>
        </p:txBody>
      </p: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2BF53489-2087-4596-AA7B-A2F44566841B}"/>
              </a:ext>
            </a:extLst>
          </p:cNvPr>
          <p:cNvCxnSpPr>
            <a:cxnSpLocks/>
          </p:cNvCxnSpPr>
          <p:nvPr/>
        </p:nvCxnSpPr>
        <p:spPr>
          <a:xfrm>
            <a:off x="7769916" y="4948657"/>
            <a:ext cx="727987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>
            <a:extLst>
              <a:ext uri="{FF2B5EF4-FFF2-40B4-BE49-F238E27FC236}">
                <a16:creationId xmlns:a16="http://schemas.microsoft.com/office/drawing/2014/main" id="{361274AD-3E05-4DAB-8E7B-86ADD28C51A4}"/>
              </a:ext>
            </a:extLst>
          </p:cNvPr>
          <p:cNvCxnSpPr>
            <a:cxnSpLocks/>
          </p:cNvCxnSpPr>
          <p:nvPr/>
        </p:nvCxnSpPr>
        <p:spPr>
          <a:xfrm>
            <a:off x="7769916" y="5429420"/>
            <a:ext cx="727987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>
            <a:extLst>
              <a:ext uri="{FF2B5EF4-FFF2-40B4-BE49-F238E27FC236}">
                <a16:creationId xmlns:a16="http://schemas.microsoft.com/office/drawing/2014/main" id="{C52661FE-95AE-4529-AB53-4EC040AA7926}"/>
              </a:ext>
            </a:extLst>
          </p:cNvPr>
          <p:cNvCxnSpPr>
            <a:cxnSpLocks/>
          </p:cNvCxnSpPr>
          <p:nvPr/>
        </p:nvCxnSpPr>
        <p:spPr>
          <a:xfrm>
            <a:off x="7777589" y="5862619"/>
            <a:ext cx="72031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0AB9DF9A-50D4-4999-A3F2-98ADF58388D1}"/>
              </a:ext>
            </a:extLst>
          </p:cNvPr>
          <p:cNvCxnSpPr>
            <a:cxnSpLocks/>
          </p:cNvCxnSpPr>
          <p:nvPr/>
        </p:nvCxnSpPr>
        <p:spPr>
          <a:xfrm flipH="1">
            <a:off x="367323" y="3122424"/>
            <a:ext cx="11457355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" name="Диаграмма 24">
            <a:extLst>
              <a:ext uri="{FF2B5EF4-FFF2-40B4-BE49-F238E27FC236}">
                <a16:creationId xmlns:a16="http://schemas.microsoft.com/office/drawing/2014/main" id="{FBD25734-220B-443E-BBC6-305097AF23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59654615"/>
              </p:ext>
            </p:extLst>
          </p:nvPr>
        </p:nvGraphicFramePr>
        <p:xfrm>
          <a:off x="316125" y="650690"/>
          <a:ext cx="7222159" cy="24259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9F834B71-1FBD-4274-8CD5-E908B1C2DFC2}"/>
              </a:ext>
            </a:extLst>
          </p:cNvPr>
          <p:cNvSpPr txBox="1"/>
          <p:nvPr/>
        </p:nvSpPr>
        <p:spPr>
          <a:xfrm>
            <a:off x="5596978" y="4510374"/>
            <a:ext cx="78341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Значение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C58D8C3-8008-4B87-8C5C-65334DABAB52}"/>
              </a:ext>
            </a:extLst>
          </p:cNvPr>
          <p:cNvSpPr txBox="1"/>
          <p:nvPr/>
        </p:nvSpPr>
        <p:spPr>
          <a:xfrm>
            <a:off x="6459738" y="4496103"/>
            <a:ext cx="78341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Ранг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DE276D2-5D66-4BD5-A8C9-C77484EE3539}"/>
              </a:ext>
            </a:extLst>
          </p:cNvPr>
          <p:cNvSpPr txBox="1"/>
          <p:nvPr/>
        </p:nvSpPr>
        <p:spPr>
          <a:xfrm>
            <a:off x="9068901" y="4530018"/>
            <a:ext cx="78341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Значение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725AE60-D1F3-4FB4-B6A6-3B477055BBF8}"/>
              </a:ext>
            </a:extLst>
          </p:cNvPr>
          <p:cNvSpPr txBox="1"/>
          <p:nvPr/>
        </p:nvSpPr>
        <p:spPr>
          <a:xfrm>
            <a:off x="10105033" y="4505238"/>
            <a:ext cx="78341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Ранг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6B22A9E-6004-4133-AD97-EEC27112F5EA}"/>
              </a:ext>
            </a:extLst>
          </p:cNvPr>
          <p:cNvSpPr txBox="1"/>
          <p:nvPr/>
        </p:nvSpPr>
        <p:spPr>
          <a:xfrm>
            <a:off x="8497903" y="702859"/>
            <a:ext cx="21017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>
              <a:defRPr/>
            </a:pPr>
            <a:r>
              <a:rPr lang="en-US" sz="1200" b="1" dirty="0" err="1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5</a:t>
            </a:r>
            <a:r>
              <a:rPr lang="ru-RU" sz="1200" b="1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г</a:t>
            </a: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од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1695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ЦНИИОИЗ_08.10">
  <a:themeElements>
    <a:clrScheme name="Национальные проекты 2020">
      <a:dk1>
        <a:srgbClr val="271D70"/>
      </a:dk1>
      <a:lt1>
        <a:srgbClr val="FFFFFF"/>
      </a:lt1>
      <a:dk2>
        <a:srgbClr val="FFFFFF"/>
      </a:dk2>
      <a:lt2>
        <a:srgbClr val="084F91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4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ЦНИИОИЗ_08.10" id="{B4410E6F-0201-40DB-83DD-39E4DCC14274}" vid="{B017E3B0-542A-484C-9A55-CCF98E2B4CCB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115</TotalTime>
  <Words>82</Words>
  <Application>Microsoft Office PowerPoint</Application>
  <PresentationFormat>Широкоэкранный</PresentationFormat>
  <Paragraphs>32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1" baseType="lpstr">
      <vt:lpstr>Arial</vt:lpstr>
      <vt:lpstr>Calibri</vt:lpstr>
      <vt:lpstr>Calibri Light</vt:lpstr>
      <vt:lpstr>Montserrat regular</vt:lpstr>
      <vt:lpstr>Roboto</vt:lpstr>
      <vt:lpstr>Roboto Light</vt:lpstr>
      <vt:lpstr>Roboto Medium</vt:lpstr>
      <vt:lpstr>Roboto Thin</vt:lpstr>
      <vt:lpstr>ЦНИИОИЗ_08.10</vt:lpstr>
      <vt:lpstr>Слайд think-cell</vt:lpstr>
      <vt:lpstr>Динамика Числа занятых должностей (врачи) в регионе 67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щИЙ КОЭФФИЦИЕНТ смертностИ населения В Липецкой области И ДОЛЯ УМЕРШИХ НА ДОМУ И В ДРУГОМ МЕСТЕ</dc:title>
  <dc:creator>Соломатников Иван Алексеевич</dc:creator>
  <cp:lastModifiedBy>Zigfrid</cp:lastModifiedBy>
  <cp:revision>328</cp:revision>
  <cp:lastPrinted>2023-09-25T13:18:27Z</cp:lastPrinted>
  <dcterms:created xsi:type="dcterms:W3CDTF">2023-06-08T18:58:01Z</dcterms:created>
  <dcterms:modified xsi:type="dcterms:W3CDTF">2025-08-03T21:58:58Z</dcterms:modified>
</cp:coreProperties>
</file>